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319" r:id="rId5"/>
    <p:sldId id="331" r:id="rId6"/>
    <p:sldId id="334" r:id="rId7"/>
    <p:sldId id="332" r:id="rId8"/>
    <p:sldId id="335" r:id="rId9"/>
    <p:sldId id="337" r:id="rId10"/>
    <p:sldId id="336" r:id="rId11"/>
    <p:sldId id="338" r:id="rId12"/>
    <p:sldId id="339" r:id="rId13"/>
    <p:sldId id="340" r:id="rId14"/>
    <p:sldId id="341" r:id="rId15"/>
    <p:sldId id="342" r:id="rId16"/>
    <p:sldId id="343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hn, ElioNick" initials="HE" lastIdx="1" clrIdx="0">
    <p:extLst>
      <p:ext uri="{19B8F6BF-5375-455C-9EA6-DF929625EA0E}">
        <p15:presenceInfo xmlns:p15="http://schemas.microsoft.com/office/powerpoint/2012/main" userId="S::Elio.Hahn@student.unisg.ch::6f4a7399-be1e-4ac1-a02d-a7fee4d19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3D"/>
    <a:srgbClr val="59C5EC"/>
    <a:srgbClr val="328EC7"/>
    <a:srgbClr val="648EAA"/>
    <a:srgbClr val="1599C2"/>
    <a:srgbClr val="0C495E"/>
    <a:srgbClr val="1D4F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76"/>
  </p:normalViewPr>
  <p:slideViewPr>
    <p:cSldViewPr snapToGrid="0">
      <p:cViewPr varScale="1">
        <p:scale>
          <a:sx n="96" d="100"/>
          <a:sy n="96" d="100"/>
        </p:scale>
        <p:origin x="48" y="10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B4E806-4974-4F7D-93A9-ED4A2DFE2888}" type="datetimeFigureOut">
              <a:rPr lang="en-GB" smtClean="0"/>
              <a:t>08/10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23BA79-AE62-48E8-8EA4-56523DE1747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099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642EA1-477C-45D7-B579-8CC780718E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462543"/>
            <a:ext cx="6732000" cy="2387600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9E1D58C-1BAA-4015-A335-4ECF525C22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GB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269DE0D-0BEF-4769-BAE2-918930E5646C}"/>
              </a:ext>
            </a:extLst>
          </p:cNvPr>
          <p:cNvGrpSpPr/>
          <p:nvPr userDrawn="1"/>
        </p:nvGrpSpPr>
        <p:grpSpPr>
          <a:xfrm>
            <a:off x="838200" y="-314795"/>
            <a:ext cx="10515600" cy="7645333"/>
            <a:chOff x="838200" y="-314795"/>
            <a:chExt cx="10515600" cy="7645333"/>
          </a:xfrm>
        </p:grpSpPr>
        <p:cxnSp>
          <p:nvCxnSpPr>
            <p:cNvPr id="6" name="Gerade Verbindung 76">
              <a:extLst>
                <a:ext uri="{FF2B5EF4-FFF2-40B4-BE49-F238E27FC236}">
                  <a16:creationId xmlns:a16="http://schemas.microsoft.com/office/drawing/2014/main" id="{5CE5C361-B6BF-4439-9FF0-C0BB23E127DB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09">
              <a:extLst>
                <a:ext uri="{FF2B5EF4-FFF2-40B4-BE49-F238E27FC236}">
                  <a16:creationId xmlns:a16="http://schemas.microsoft.com/office/drawing/2014/main" id="{DF40E7E1-4792-4977-A0EB-B3E683CC8092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10">
              <a:extLst>
                <a:ext uri="{FF2B5EF4-FFF2-40B4-BE49-F238E27FC236}">
                  <a16:creationId xmlns:a16="http://schemas.microsoft.com/office/drawing/2014/main" id="{A734CDA7-A29D-46E0-AE32-BAEC8D7695D4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11">
              <a:extLst>
                <a:ext uri="{FF2B5EF4-FFF2-40B4-BE49-F238E27FC236}">
                  <a16:creationId xmlns:a16="http://schemas.microsoft.com/office/drawing/2014/main" id="{657EE1FA-E450-4BA1-9BE9-CAFE309E60E5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8">
              <a:extLst>
                <a:ext uri="{FF2B5EF4-FFF2-40B4-BE49-F238E27FC236}">
                  <a16:creationId xmlns:a16="http://schemas.microsoft.com/office/drawing/2014/main" id="{1C011DF9-ACCB-41AD-AFB1-F510724ECCE4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9">
              <a:extLst>
                <a:ext uri="{FF2B5EF4-FFF2-40B4-BE49-F238E27FC236}">
                  <a16:creationId xmlns:a16="http://schemas.microsoft.com/office/drawing/2014/main" id="{83EEAC3C-3A49-448E-8282-F65DA329D71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88DFEC92-8BF5-A65D-7A3D-A3CDD2AC97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060" y="1031291"/>
            <a:ext cx="3505199" cy="350519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6431E4D-0BF9-4100-E343-663BF2EFD4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040" y="3906368"/>
            <a:ext cx="4079240" cy="1631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502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LP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3EBE472-28CB-4DD3-80B3-0AC990C43CA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693438FB-431B-D9DA-1256-46CDB6EAF9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834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755ED7D0-62DD-4C61-A486-4A003A3CD13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A7D30D89-9F1D-B3A1-AC49-46757262B7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Challenge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6C9BD8C-1397-4B79-880F-A242CB48E55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1EDE8623-9C70-CB63-66DC-6A4E97D52A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779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totyp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E6E846-ECAF-46C2-B8E0-A4197AA7C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6517D0-E628-4E6E-B0C2-0AAC5D95C8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BA90CB6-A13E-4E5B-989B-5B20630FAB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EFDD7DD-8C5F-44E5-9C4D-1BB9593E10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1D4AD87-566C-4F54-8604-BB8773E0D98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6149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813ED3-20F5-4FF4-A0C7-A3AB6A8F4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213260D-4C7F-415A-A234-5C388BFB08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656AA5-CC0E-488B-802C-E1002CF016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7300CE5A-5B40-44AE-A87E-97F4FCB33E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E0CCAAE-418D-42E0-9E9B-57EEDC681E2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88C6C91E-4129-3FC1-6370-C7D32D857E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214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_2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3B38D-E928-4764-8DB5-45DBA34C6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53BCD73-1890-43C1-91CC-7D0B9D8929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0BF49B-2047-47E9-8630-E754B4DDCC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3AA91C3-445E-48BF-AA2B-42CBF1A3BE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6C5482B-3D04-49A5-A12F-66A8848E95A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58072B13-88DC-D1FA-DE2B-67D584568D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576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Min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1577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STC Board-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Nr.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248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91BAC62-5AE8-52FD-4ADD-120CF2B97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F94FBD-42EA-4E9B-B5DD-683F8A3FE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E544A3-61CD-47D4-8F0D-142BC287E9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DD16812E-46C0-4A64-B63F-4507C1DEE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77ABD41-8175-4CA9-A9BD-7F34D1C49C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463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56252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2667" b="0" i="0" baseline="0" err="1">
              <a:solidFill>
                <a:schemeClr val="tx1"/>
              </a:solidFill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08163"/>
            <a:ext cx="10515600" cy="601133"/>
          </a:xfrm>
          <a:solidFill>
            <a:schemeClr val="bg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566459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A0F2D170-8835-4B0E-B303-F32605F23A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" y="3324755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3B5FEE63-50D9-4B2B-B6ED-63DA53ACF5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4083051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77C3917A-02D6-4C3D-9C36-253D8D9FBC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200" y="4841347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EDEDA4E2-97B4-4774-A188-CA38123EF3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200" y="5599642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2C7895E1-0CA7-441D-9BB4-56E8CFE9C4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3CD3740A-A12D-4F32-AA13-1B82C72AAE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77BD413-594B-4238-87F7-BB27A85CE1FB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AC31BFCA-A0F6-92B1-80FB-DDFD27A941D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69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D59058-9998-49B4-9636-0CB99EF0E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41C788-8D5A-4CFF-91E7-E7BC4675BE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D74EC3E3-852E-42F6-983A-9F8ECE72F76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FD11112-1F7B-43DD-A75D-4F5DD5311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3F25A03-854C-4907-9276-EBD15982A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F492E1E-D148-AC78-156B-F1BFDE6FBF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41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Zwei Inhalt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B5BAAB-957D-41E3-9A26-056705B35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7CBB0-F8EF-4324-8CC7-61E4DC472A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AFF1C97-12EF-41B2-BE08-7A63EBC062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4890F2C-9C63-4CA6-BABD-5F7C4D286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8483033-FCFD-4EE3-AC56-9C8B38723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5E7A4D8-261C-4E25-B008-374D724DD16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D303E89D-91C5-5820-C5E8-A7F3A81402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21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D3AB93-E1F8-4B76-8437-22FB36B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CA6372-744C-42D2-8E6E-1D1C434CD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25625"/>
            <a:ext cx="5157787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7A2C69A-0B44-4ACA-B22F-1A5F0A3B1C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365695"/>
            <a:ext cx="5157787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08543C-CA5E-405C-9117-D620F302B4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25625"/>
            <a:ext cx="5183188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BB86D9-9D2C-4C05-9326-B78D2A1867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65695"/>
            <a:ext cx="5183188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813B5867-B10B-4D16-8B2C-CFA296B9152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6814E2A8-C8FB-402D-8CC7-7B2B25B9C5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4DF9F90-BC7C-4D24-AA5A-CDA3C1F288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4B1DAEC-7F6A-BE48-E2F2-2178E7EAC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793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321133-9199-4B6F-A4A1-12C267C74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276B6E-7D5D-42C7-A8D5-327B9FEB35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F75B6E-8C70-485F-9D44-A93ABF4E16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AutoShape 31">
            <a:extLst>
              <a:ext uri="{FF2B5EF4-FFF2-40B4-BE49-F238E27FC236}">
                <a16:creationId xmlns:a16="http://schemas.microsoft.com/office/drawing/2014/main" id="{AEE11CF7-B21A-42B0-9A55-FB3DDE070A73}"/>
              </a:ext>
            </a:extLst>
          </p:cNvPr>
          <p:cNvSpPr>
            <a:spLocks noChangeArrowheads="1"/>
          </p:cNvSpPr>
          <p:nvPr userDrawn="1"/>
        </p:nvSpPr>
        <p:spPr bwMode="gray">
          <a:xfrm rot="10800000">
            <a:off x="4991352" y="4582879"/>
            <a:ext cx="2208232" cy="2520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10800000" wrap="none" lIns="0" tIns="0" rIns="0" bIns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Aft>
                <a:spcPct val="2000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0A49849-9B04-41AA-84BD-7C028D2C32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65695"/>
            <a:ext cx="10515600" cy="2032134"/>
          </a:xfrm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8F67FF6-4817-4DB7-A65E-90BF22293B8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38200" y="5019927"/>
            <a:ext cx="10515600" cy="1157035"/>
          </a:xfr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E2B66D6-981D-423B-A3CA-88D0A2C96E4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E3D6301B-477D-43E0-81A5-ECD367A2FA5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9788" y="1825625"/>
            <a:ext cx="10514012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6145FEC-B34D-A651-DDD4-599967ACF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752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055D6C-60FD-4C93-8EC6-5010F5EACD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9C7544-1FDA-4056-8B11-0B1AB27ED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7B137E3-7B22-9090-610D-1DB5F62AEE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41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rvice Center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EBA610-A522-45B6-8211-E86F31443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3D196429-F491-47AD-BD2B-C9AAB895D7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2036D26-2040-4EB7-90B4-679004818CA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0B8FD0C-5319-4FB4-9E7D-FA27BB0032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6511434F-E0EC-462F-8AD9-167591F88D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316875E-7EAB-D521-CBCD-3380F9A9A6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846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351A953-26ED-44EE-AC0B-660E366C1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86EB5E-8574-422F-9E04-13698F5DE2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365A61-3D32-4186-BE44-577771594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28DB5A-6742-4E15-8F80-0000FE9C4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508122B-BBDC-4440-AE9C-8C546AA8559B}"/>
              </a:ext>
            </a:extLst>
          </p:cNvPr>
          <p:cNvGrpSpPr/>
          <p:nvPr userDrawn="1"/>
        </p:nvGrpSpPr>
        <p:grpSpPr>
          <a:xfrm>
            <a:off x="-304773" y="-314795"/>
            <a:ext cx="12961230" cy="7645333"/>
            <a:chOff x="-304773" y="-314795"/>
            <a:chExt cx="12961230" cy="7645333"/>
          </a:xfrm>
        </p:grpSpPr>
        <p:cxnSp>
          <p:nvCxnSpPr>
            <p:cNvPr id="8" name="Gerade Verbindung 76">
              <a:extLst>
                <a:ext uri="{FF2B5EF4-FFF2-40B4-BE49-F238E27FC236}">
                  <a16:creationId xmlns:a16="http://schemas.microsoft.com/office/drawing/2014/main" id="{B9CEC6B8-3175-4977-B1D8-63E65C5D5533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09">
              <a:extLst>
                <a:ext uri="{FF2B5EF4-FFF2-40B4-BE49-F238E27FC236}">
                  <a16:creationId xmlns:a16="http://schemas.microsoft.com/office/drawing/2014/main" id="{66C741A0-A4F7-4BC6-9F2A-BEFC4C66109F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10">
              <a:extLst>
                <a:ext uri="{FF2B5EF4-FFF2-40B4-BE49-F238E27FC236}">
                  <a16:creationId xmlns:a16="http://schemas.microsoft.com/office/drawing/2014/main" id="{F7541040-A896-4B56-A842-8F0BE5731040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1">
              <a:extLst>
                <a:ext uri="{FF2B5EF4-FFF2-40B4-BE49-F238E27FC236}">
                  <a16:creationId xmlns:a16="http://schemas.microsoft.com/office/drawing/2014/main" id="{F3000A66-911A-406F-B498-F2D7A47E206C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12">
              <a:extLst>
                <a:ext uri="{FF2B5EF4-FFF2-40B4-BE49-F238E27FC236}">
                  <a16:creationId xmlns:a16="http://schemas.microsoft.com/office/drawing/2014/main" id="{92ED009D-21E9-42B9-AFF3-5C1F86177C14}"/>
                </a:ext>
              </a:extLst>
            </p:cNvPr>
            <p:cNvCxnSpPr/>
            <p:nvPr userDrawn="1"/>
          </p:nvCxnSpPr>
          <p:spPr>
            <a:xfrm rot="16200000">
              <a:off x="-185314" y="2456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3">
              <a:extLst>
                <a:ext uri="{FF2B5EF4-FFF2-40B4-BE49-F238E27FC236}">
                  <a16:creationId xmlns:a16="http://schemas.microsoft.com/office/drawing/2014/main" id="{9708D826-105B-4941-A899-D52DC9098634}"/>
                </a:ext>
              </a:extLst>
            </p:cNvPr>
            <p:cNvCxnSpPr/>
            <p:nvPr userDrawn="1"/>
          </p:nvCxnSpPr>
          <p:spPr>
            <a:xfrm rot="16200000">
              <a:off x="-185314" y="6236892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14">
              <a:extLst>
                <a:ext uri="{FF2B5EF4-FFF2-40B4-BE49-F238E27FC236}">
                  <a16:creationId xmlns:a16="http://schemas.microsoft.com/office/drawing/2014/main" id="{ED6E0CB8-C036-4173-942A-22564C7DA0CC}"/>
                </a:ext>
              </a:extLst>
            </p:cNvPr>
            <p:cNvCxnSpPr/>
            <p:nvPr userDrawn="1"/>
          </p:nvCxnSpPr>
          <p:spPr>
            <a:xfrm rot="16200000">
              <a:off x="-185314" y="6057504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5">
              <a:extLst>
                <a:ext uri="{FF2B5EF4-FFF2-40B4-BE49-F238E27FC236}">
                  <a16:creationId xmlns:a16="http://schemas.microsoft.com/office/drawing/2014/main" id="{81A60B39-7F4A-4A51-AA19-838EDD4F3778}"/>
                </a:ext>
              </a:extLst>
            </p:cNvPr>
            <p:cNvCxnSpPr/>
            <p:nvPr userDrawn="1"/>
          </p:nvCxnSpPr>
          <p:spPr>
            <a:xfrm rot="16200000">
              <a:off x="12536999" y="245668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6">
              <a:extLst>
                <a:ext uri="{FF2B5EF4-FFF2-40B4-BE49-F238E27FC236}">
                  <a16:creationId xmlns:a16="http://schemas.microsoft.com/office/drawing/2014/main" id="{3CE4E7FB-17B9-4432-B500-05B3C45121AD}"/>
                </a:ext>
              </a:extLst>
            </p:cNvPr>
            <p:cNvCxnSpPr/>
            <p:nvPr userDrawn="1"/>
          </p:nvCxnSpPr>
          <p:spPr>
            <a:xfrm rot="16200000">
              <a:off x="12536999" y="6236893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7">
              <a:extLst>
                <a:ext uri="{FF2B5EF4-FFF2-40B4-BE49-F238E27FC236}">
                  <a16:creationId xmlns:a16="http://schemas.microsoft.com/office/drawing/2014/main" id="{6E8E399A-C0E4-406B-AC96-2262224706CA}"/>
                </a:ext>
              </a:extLst>
            </p:cNvPr>
            <p:cNvCxnSpPr/>
            <p:nvPr userDrawn="1"/>
          </p:nvCxnSpPr>
          <p:spPr>
            <a:xfrm rot="16200000">
              <a:off x="12536999" y="605750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18">
              <a:extLst>
                <a:ext uri="{FF2B5EF4-FFF2-40B4-BE49-F238E27FC236}">
                  <a16:creationId xmlns:a16="http://schemas.microsoft.com/office/drawing/2014/main" id="{EF6F86B5-1A36-4D46-81EA-11C353E6F702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19">
              <a:extLst>
                <a:ext uri="{FF2B5EF4-FFF2-40B4-BE49-F238E27FC236}">
                  <a16:creationId xmlns:a16="http://schemas.microsoft.com/office/drawing/2014/main" id="{8DAE5E39-2C4C-4BEA-9E91-DB457088845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20">
              <a:extLst>
                <a:ext uri="{FF2B5EF4-FFF2-40B4-BE49-F238E27FC236}">
                  <a16:creationId xmlns:a16="http://schemas.microsoft.com/office/drawing/2014/main" id="{D9682F70-0F99-4AEE-A0DD-CA4FD8936C3C}"/>
                </a:ext>
              </a:extLst>
            </p:cNvPr>
            <p:cNvCxnSpPr/>
            <p:nvPr userDrawn="1"/>
          </p:nvCxnSpPr>
          <p:spPr>
            <a:xfrm rot="16200000">
              <a:off x="-185314" y="17061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21">
              <a:extLst>
                <a:ext uri="{FF2B5EF4-FFF2-40B4-BE49-F238E27FC236}">
                  <a16:creationId xmlns:a16="http://schemas.microsoft.com/office/drawing/2014/main" id="{E30E26CA-D504-458F-ACAB-236573D0A926}"/>
                </a:ext>
              </a:extLst>
            </p:cNvPr>
            <p:cNvCxnSpPr/>
            <p:nvPr userDrawn="1"/>
          </p:nvCxnSpPr>
          <p:spPr>
            <a:xfrm rot="16200000">
              <a:off x="12536999" y="170616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24">
              <a:extLst>
                <a:ext uri="{FF2B5EF4-FFF2-40B4-BE49-F238E27FC236}">
                  <a16:creationId xmlns:a16="http://schemas.microsoft.com/office/drawing/2014/main" id="{951265D4-4512-494B-BC6A-57F07DA0644F}"/>
                </a:ext>
              </a:extLst>
            </p:cNvPr>
            <p:cNvCxnSpPr/>
            <p:nvPr userDrawn="1"/>
          </p:nvCxnSpPr>
          <p:spPr>
            <a:xfrm rot="16200000">
              <a:off x="-185314" y="157122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25">
              <a:extLst>
                <a:ext uri="{FF2B5EF4-FFF2-40B4-BE49-F238E27FC236}">
                  <a16:creationId xmlns:a16="http://schemas.microsoft.com/office/drawing/2014/main" id="{0ADF1911-8DE3-4F92-87D8-4C14589C3479}"/>
                </a:ext>
              </a:extLst>
            </p:cNvPr>
            <p:cNvCxnSpPr/>
            <p:nvPr userDrawn="1"/>
          </p:nvCxnSpPr>
          <p:spPr>
            <a:xfrm rot="16200000">
              <a:off x="12536999" y="1571230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5539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2" r:id="rId3"/>
    <p:sldLayoutId id="2147483650" r:id="rId4"/>
    <p:sldLayoutId id="2147483652" r:id="rId5"/>
    <p:sldLayoutId id="2147483653" r:id="rId6"/>
    <p:sldLayoutId id="2147483664" r:id="rId7"/>
    <p:sldLayoutId id="2147483655" r:id="rId8"/>
    <p:sldLayoutId id="2147483661" r:id="rId9"/>
    <p:sldLayoutId id="2147483663" r:id="rId10"/>
    <p:sldLayoutId id="2147483665" r:id="rId11"/>
    <p:sldLayoutId id="2147483666" r:id="rId12"/>
    <p:sldLayoutId id="2147483667" r:id="rId13"/>
    <p:sldLayoutId id="2147483669" r:id="rId14"/>
    <p:sldLayoutId id="2147483670" r:id="rId15"/>
    <p:sldLayoutId id="2147483671" r:id="rId16"/>
    <p:sldLayoutId id="2147483672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151" userDrawn="1">
          <p15:clr>
            <a:srgbClr val="F26B43"/>
          </p15:clr>
        </p15:guide>
        <p15:guide id="5" orient="horz" pos="4006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629CA0-0DA4-4977-8CA4-37B16BE9E5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diction Machines Workshop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7DEBB9F-DB6D-4CE3-A1C4-444CAA3CBA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/>
          <a:lstStyle/>
          <a:p>
            <a:r>
              <a:rPr lang="en-US" dirty="0"/>
              <a:t>10/10/22</a:t>
            </a:r>
          </a:p>
        </p:txBody>
      </p:sp>
    </p:spTree>
    <p:extLst>
      <p:ext uri="{BB962C8B-B14F-4D97-AF65-F5344CB8AC3E}">
        <p14:creationId xmlns:p14="http://schemas.microsoft.com/office/powerpoint/2010/main" val="2362891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Random Forr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Decision</a:t>
            </a:r>
            <a:r>
              <a:rPr lang="de-CH" dirty="0"/>
              <a:t> </a:t>
            </a:r>
            <a:r>
              <a:rPr lang="de-CH" dirty="0" err="1"/>
              <a:t>trees</a:t>
            </a:r>
            <a:r>
              <a:rPr lang="de-CH" dirty="0"/>
              <a:t>:</a:t>
            </a:r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0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45DB995-7A6F-4313-80CC-E766390668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618961"/>
            <a:ext cx="9870756" cy="265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338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Support Vector Mach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Fi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losest</a:t>
            </a:r>
            <a:r>
              <a:rPr lang="de-CH" dirty="0"/>
              <a:t> </a:t>
            </a:r>
            <a:r>
              <a:rPr lang="de-CH" dirty="0" err="1"/>
              <a:t>points</a:t>
            </a:r>
            <a:r>
              <a:rPr lang="de-CH" dirty="0"/>
              <a:t>,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build</a:t>
            </a:r>
            <a:r>
              <a:rPr lang="de-CH" dirty="0"/>
              <a:t> support </a:t>
            </a:r>
            <a:r>
              <a:rPr lang="de-CH" dirty="0" err="1"/>
              <a:t>vectors</a:t>
            </a:r>
            <a:r>
              <a:rPr lang="de-CH" dirty="0"/>
              <a:t> and 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build</a:t>
            </a:r>
            <a:r>
              <a:rPr lang="de-CH" dirty="0"/>
              <a:t> a </a:t>
            </a:r>
            <a:r>
              <a:rPr lang="de-CH" dirty="0" err="1"/>
              <a:t>seperator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r>
              <a:rPr lang="de-CH" dirty="0"/>
              <a:t>This </a:t>
            </a:r>
            <a:r>
              <a:rPr lang="de-CH" dirty="0" err="1"/>
              <a:t>does</a:t>
            </a:r>
            <a:r>
              <a:rPr lang="de-CH" dirty="0"/>
              <a:t> not have to </a:t>
            </a:r>
            <a:r>
              <a:rPr lang="de-CH" dirty="0" err="1"/>
              <a:t>b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linea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1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911923-723D-4683-8501-FAD15F6776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4405" y="1870075"/>
            <a:ext cx="6533477" cy="379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828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Support Vector Mach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Find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losest</a:t>
            </a:r>
            <a:r>
              <a:rPr lang="de-CH" dirty="0"/>
              <a:t> </a:t>
            </a:r>
            <a:r>
              <a:rPr lang="de-CH" dirty="0" err="1"/>
              <a:t>points</a:t>
            </a:r>
            <a:r>
              <a:rPr lang="de-CH" dirty="0"/>
              <a:t>,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build</a:t>
            </a:r>
            <a:r>
              <a:rPr lang="de-CH" dirty="0"/>
              <a:t> support </a:t>
            </a:r>
            <a:r>
              <a:rPr lang="de-CH" dirty="0" err="1"/>
              <a:t>vectors</a:t>
            </a:r>
            <a:r>
              <a:rPr lang="de-CH" dirty="0"/>
              <a:t> and 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build</a:t>
            </a:r>
            <a:r>
              <a:rPr lang="de-CH" dirty="0"/>
              <a:t> a </a:t>
            </a:r>
            <a:r>
              <a:rPr lang="de-CH" dirty="0" err="1"/>
              <a:t>seperator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r>
              <a:rPr lang="de-CH" dirty="0"/>
              <a:t>This </a:t>
            </a:r>
            <a:r>
              <a:rPr lang="de-CH" dirty="0" err="1"/>
              <a:t>does</a:t>
            </a:r>
            <a:r>
              <a:rPr lang="de-CH" dirty="0"/>
              <a:t> not have to </a:t>
            </a:r>
            <a:r>
              <a:rPr lang="de-CH" dirty="0" err="1"/>
              <a:t>b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linea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2</a:t>
            </a:fld>
            <a:endParaRPr lang="en-GB"/>
          </a:p>
        </p:txBody>
      </p:sp>
      <p:pic>
        <p:nvPicPr>
          <p:cNvPr id="8" name="Grafik 7" descr="Ein Bild, das Text, Visitenkarte, Screenshot enthält.&#10;&#10;Automatisch generierte Beschreibung">
            <a:extLst>
              <a:ext uri="{FF2B5EF4-FFF2-40B4-BE49-F238E27FC236}">
                <a16:creationId xmlns:a16="http://schemas.microsoft.com/office/drawing/2014/main" id="{414A37E4-C336-42E9-9023-A773611B35B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43"/>
          <a:stretch/>
        </p:blipFill>
        <p:spPr>
          <a:xfrm>
            <a:off x="6096000" y="1690688"/>
            <a:ext cx="5738191" cy="410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9840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mplement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 err="1"/>
              <a:t>Alright</a:t>
            </a:r>
            <a:r>
              <a:rPr lang="de-CH" dirty="0"/>
              <a:t>, </a:t>
            </a:r>
            <a:r>
              <a:rPr lang="de-CH" dirty="0" err="1"/>
              <a:t>let’s</a:t>
            </a:r>
            <a:r>
              <a:rPr lang="de-CH" dirty="0"/>
              <a:t> </a:t>
            </a:r>
            <a:r>
              <a:rPr lang="de-CH" dirty="0" err="1"/>
              <a:t>try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 in Python </a:t>
            </a:r>
            <a:r>
              <a:rPr lang="de-CH" dirty="0" err="1"/>
              <a:t>then</a:t>
            </a:r>
            <a:r>
              <a:rPr lang="de-CH" dirty="0"/>
              <a:t>!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9600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E9C3A9-FF8F-47CF-913F-73C43E6D0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B71827-B1DA-4A79-867E-B6085FB9E7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08E41F5-6F83-4700-9982-09D8E6A13A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accent1"/>
          </a:solidFill>
          <a:ln>
            <a:noFill/>
          </a:ln>
        </p:spPr>
        <p:txBody>
          <a:bodyPr vert="horz" lIns="144000" tIns="36000" rIns="144000" bIns="36000" rtlCol="0" anchor="ctr" anchorCtr="0"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5BC687D-7947-48BF-AE35-27922AEFC08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solidFill>
            <a:schemeClr val="accent1"/>
          </a:solidFill>
          <a:ln>
            <a:noFill/>
          </a:ln>
        </p:spPr>
        <p:txBody>
          <a:bodyPr vert="horz" lIns="144000" tIns="36000" rIns="144000" bIns="36000" rtlCol="0" anchor="ctr" anchorCtr="0">
            <a:normAutofit/>
          </a:bodyPr>
          <a:lstStyle/>
          <a:p>
            <a:r>
              <a:rPr lang="en-US" b="1" dirty="0"/>
              <a:t>Model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F5DE1D2-D887-431D-9F74-1BC1CF7421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solidFill>
            <a:schemeClr val="accent1"/>
          </a:solidFill>
          <a:ln>
            <a:noFill/>
          </a:ln>
        </p:spPr>
        <p:txBody>
          <a:bodyPr vert="horz" lIns="144000" tIns="36000" rIns="144000" bIns="36000" rtlCol="0" anchor="ctr" anchorCtr="0"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mplementation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1A01CD4-8E87-4024-9EA5-5D84A6525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/>
              <a:t>DSTC Template | 202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BE819BF-D11F-4693-A889-A8073D0E53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2</a:t>
            </a:fld>
            <a:endParaRPr lang="en-GB"/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D381616B-EFCA-4AB6-A428-4B8356EB9BD3}"/>
              </a:ext>
            </a:extLst>
          </p:cNvPr>
          <p:cNvSpPr txBox="1">
            <a:spLocks/>
          </p:cNvSpPr>
          <p:nvPr/>
        </p:nvSpPr>
        <p:spPr>
          <a:xfrm>
            <a:off x="838200" y="4839758"/>
            <a:ext cx="10515600" cy="601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144000" tIns="36000" rIns="144000" bIns="3600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Q &amp; A </a:t>
            </a:r>
          </a:p>
        </p:txBody>
      </p:sp>
    </p:spTree>
    <p:extLst>
      <p:ext uri="{BB962C8B-B14F-4D97-AF65-F5344CB8AC3E}">
        <p14:creationId xmlns:p14="http://schemas.microsoft.com/office/powerpoint/2010/main" val="136164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7E4EFC-9BA4-A2BD-C615-8EF0C7F65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elcom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F17EBF-2D37-E609-5A29-EECA41424F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Welcome to </a:t>
            </a:r>
            <a:r>
              <a:rPr lang="de-CH" dirty="0" err="1"/>
              <a:t>this</a:t>
            </a:r>
            <a:r>
              <a:rPr lang="de-CH" dirty="0"/>
              <a:t> </a:t>
            </a:r>
            <a:r>
              <a:rPr lang="de-CH" dirty="0" err="1"/>
              <a:t>workshop</a:t>
            </a:r>
            <a:r>
              <a:rPr lang="de-CH" dirty="0"/>
              <a:t>!</a:t>
            </a:r>
          </a:p>
          <a:p>
            <a:endParaRPr lang="de-CH" dirty="0"/>
          </a:p>
          <a:p>
            <a:r>
              <a:rPr lang="de-CH" dirty="0"/>
              <a:t>No </a:t>
            </a:r>
            <a:r>
              <a:rPr lang="de-CH" dirty="0" err="1"/>
              <a:t>big</a:t>
            </a:r>
            <a:r>
              <a:rPr lang="de-CH" dirty="0"/>
              <a:t> code </a:t>
            </a:r>
            <a:r>
              <a:rPr lang="de-CH" dirty="0" err="1"/>
              <a:t>files</a:t>
            </a:r>
            <a:r>
              <a:rPr lang="de-CH" dirty="0"/>
              <a:t> – all </a:t>
            </a:r>
            <a:r>
              <a:rPr lang="de-CH" dirty="0" err="1"/>
              <a:t>done</a:t>
            </a:r>
            <a:r>
              <a:rPr lang="de-CH" dirty="0"/>
              <a:t> in </a:t>
            </a:r>
            <a:r>
              <a:rPr lang="de-CH" dirty="0" err="1"/>
              <a:t>less</a:t>
            </a:r>
            <a:r>
              <a:rPr lang="de-CH" dirty="0"/>
              <a:t> than 100 </a:t>
            </a:r>
            <a:r>
              <a:rPr lang="de-CH" dirty="0" err="1"/>
              <a:t>lines</a:t>
            </a:r>
            <a:endParaRPr lang="de-CH" dirty="0"/>
          </a:p>
          <a:p>
            <a:endParaRPr lang="de-CH" dirty="0"/>
          </a:p>
          <a:p>
            <a:r>
              <a:rPr lang="de-CH" dirty="0"/>
              <a:t>No </a:t>
            </a:r>
            <a:r>
              <a:rPr lang="de-CH" dirty="0" err="1"/>
              <a:t>big</a:t>
            </a:r>
            <a:r>
              <a:rPr lang="de-CH" dirty="0"/>
              <a:t> </a:t>
            </a:r>
            <a:r>
              <a:rPr lang="de-CH" dirty="0" err="1"/>
              <a:t>theory</a:t>
            </a:r>
            <a:r>
              <a:rPr lang="de-CH" dirty="0"/>
              <a:t> </a:t>
            </a:r>
            <a:r>
              <a:rPr lang="de-CH" dirty="0" err="1"/>
              <a:t>part</a:t>
            </a:r>
            <a:endParaRPr lang="de-CH" dirty="0"/>
          </a:p>
          <a:p>
            <a:endParaRPr lang="de-CH" dirty="0"/>
          </a:p>
          <a:p>
            <a:pPr marL="0" indent="0">
              <a:buNone/>
            </a:pPr>
            <a:r>
              <a:rPr lang="de-CH" dirty="0">
                <a:sym typeface="Wingdings" panose="05000000000000000000" pitchFamily="2" charset="2"/>
              </a:rPr>
              <a:t> Follow </a:t>
            </a:r>
            <a:r>
              <a:rPr lang="de-CH" dirty="0" err="1">
                <a:sym typeface="Wingdings" panose="05000000000000000000" pitchFamily="2" charset="2"/>
              </a:rPr>
              <a:t>instructions</a:t>
            </a:r>
            <a:r>
              <a:rPr lang="de-CH" dirty="0">
                <a:sym typeface="Wingdings" panose="05000000000000000000" pitchFamily="2" charset="2"/>
              </a:rPr>
              <a:t> and </a:t>
            </a:r>
            <a:r>
              <a:rPr lang="de-CH" dirty="0" err="1">
                <a:sym typeface="Wingdings" panose="05000000000000000000" pitchFamily="2" charset="2"/>
              </a:rPr>
              <a:t>learn</a:t>
            </a:r>
            <a:r>
              <a:rPr lang="de-CH" dirty="0">
                <a:sym typeface="Wingdings" panose="05000000000000000000" pitchFamily="2" charset="2"/>
              </a:rPr>
              <a:t>!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BA1EE9-C16E-7B3C-1DFA-60FA6EC2E8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9E1726-E707-7F5E-C9DA-1B35EF0C0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830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CE93BB-7A05-42C7-BE22-484B9FFD7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C906DE-764D-4001-9937-49ED743022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Old Dataset: </a:t>
            </a:r>
            <a:r>
              <a:rPr lang="de-DE" dirty="0" err="1"/>
              <a:t>Collected</a:t>
            </a:r>
            <a:r>
              <a:rPr lang="de-DE" dirty="0"/>
              <a:t> in 1988</a:t>
            </a:r>
            <a:endParaRPr lang="de-DE" sz="2000" dirty="0"/>
          </a:p>
          <a:p>
            <a:endParaRPr lang="de-DE" sz="2000" i="1" dirty="0"/>
          </a:p>
          <a:p>
            <a:r>
              <a:rPr lang="de-DE" dirty="0"/>
              <a:t>Heart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ff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adical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endParaRPr lang="de-DE" sz="2000" i="1" dirty="0"/>
          </a:p>
          <a:p>
            <a:r>
              <a:rPr lang="de-DE" dirty="0"/>
              <a:t>303 Datapoints </a:t>
            </a:r>
            <a:r>
              <a:rPr lang="de-DE" dirty="0" err="1"/>
              <a:t>with</a:t>
            </a:r>
            <a:r>
              <a:rPr lang="de-DE" dirty="0"/>
              <a:t> 13 </a:t>
            </a:r>
            <a:r>
              <a:rPr lang="de-DE" dirty="0" err="1"/>
              <a:t>explanatory</a:t>
            </a:r>
            <a:r>
              <a:rPr lang="de-DE" dirty="0"/>
              <a:t> variables and 1 </a:t>
            </a:r>
            <a:r>
              <a:rPr lang="de-DE" dirty="0" err="1"/>
              <a:t>outcome</a:t>
            </a:r>
            <a:endParaRPr lang="de-DE" dirty="0"/>
          </a:p>
          <a:p>
            <a:endParaRPr lang="de-DE" sz="2000" i="1" dirty="0"/>
          </a:p>
          <a:p>
            <a:r>
              <a:rPr lang="de-DE" dirty="0"/>
              <a:t>Goal: Find a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</a:t>
            </a:r>
            <a:r>
              <a:rPr lang="de-DE" dirty="0" err="1"/>
              <a:t>patients</a:t>
            </a:r>
            <a:r>
              <a:rPr lang="de-DE" dirty="0"/>
              <a:t> </a:t>
            </a:r>
            <a:r>
              <a:rPr lang="de-DE" dirty="0" err="1"/>
              <a:t>who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in </a:t>
            </a:r>
            <a:r>
              <a:rPr lang="de-DE" dirty="0" err="1"/>
              <a:t>dang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eart</a:t>
            </a:r>
            <a:r>
              <a:rPr lang="de-DE" dirty="0"/>
              <a:t> </a:t>
            </a:r>
            <a:r>
              <a:rPr lang="de-DE" dirty="0" err="1"/>
              <a:t>failure</a:t>
            </a:r>
            <a:endParaRPr lang="de-DE" dirty="0"/>
          </a:p>
          <a:p>
            <a:pPr marL="0" indent="0">
              <a:buNone/>
            </a:pPr>
            <a:endParaRPr lang="de-DE" sz="2000" i="1" dirty="0"/>
          </a:p>
          <a:p>
            <a:pPr marL="0" indent="0">
              <a:buNone/>
            </a:pPr>
            <a:r>
              <a:rPr lang="de-DE" sz="2000" i="1" dirty="0"/>
              <a:t>https://archive.ics.uci.edu/ml/datasets/heart+Disease</a:t>
            </a:r>
            <a:endParaRPr lang="de-DE" i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F174A8-42F7-4EA8-AF46-7B4118DBA5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/>
              <a:t>DSTC Template | 202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365BBB-CE03-466D-BA54-95CD8FEF66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7273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/>
              <a:t>Data </a:t>
            </a:r>
            <a:r>
              <a:rPr lang="de-CH" dirty="0" err="1"/>
              <a:t>preperation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514350" indent="-514350">
              <a:buAutoNum type="arabicPeriod"/>
            </a:pPr>
            <a:r>
              <a:rPr lang="de-CH" dirty="0"/>
              <a:t>Clea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dirty="0"/>
              <a:t>2. Split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into Training and </a:t>
            </a:r>
            <a:r>
              <a:rPr lang="de-CH" dirty="0" err="1"/>
              <a:t>Testing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dirty="0">
                <a:sym typeface="Wingdings" panose="05000000000000000000" pitchFamily="2" charset="2"/>
              </a:rPr>
              <a:t> Why? </a:t>
            </a:r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9640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Logistic</a:t>
            </a:r>
            <a:r>
              <a:rPr lang="de-CH" dirty="0"/>
              <a:t> </a:t>
            </a:r>
            <a:r>
              <a:rPr lang="de-CH" dirty="0" err="1"/>
              <a:t>models</a:t>
            </a:r>
            <a:endParaRPr lang="de-CH" dirty="0"/>
          </a:p>
          <a:p>
            <a:endParaRPr lang="de-CH" dirty="0"/>
          </a:p>
          <a:p>
            <a:r>
              <a:rPr lang="de-CH" dirty="0"/>
              <a:t>K-</a:t>
            </a:r>
            <a:r>
              <a:rPr lang="de-CH" dirty="0" err="1"/>
              <a:t>Nearest</a:t>
            </a:r>
            <a:r>
              <a:rPr lang="de-CH" dirty="0"/>
              <a:t> </a:t>
            </a:r>
            <a:r>
              <a:rPr lang="de-CH" dirty="0" err="1"/>
              <a:t>Neighbours</a:t>
            </a:r>
            <a:endParaRPr lang="de-CH" dirty="0"/>
          </a:p>
          <a:p>
            <a:endParaRPr lang="de-CH" dirty="0"/>
          </a:p>
          <a:p>
            <a:r>
              <a:rPr lang="de-CH" dirty="0"/>
              <a:t>Random Forrest</a:t>
            </a:r>
          </a:p>
          <a:p>
            <a:endParaRPr lang="de-CH" dirty="0"/>
          </a:p>
          <a:p>
            <a:r>
              <a:rPr lang="de-CH" dirty="0"/>
              <a:t>Support Vector Machine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4288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</a:t>
            </a:r>
            <a:r>
              <a:rPr lang="de-CH" dirty="0" err="1"/>
              <a:t>Logistic</a:t>
            </a:r>
            <a:r>
              <a:rPr lang="de-CH" dirty="0"/>
              <a:t> </a:t>
            </a:r>
            <a:r>
              <a:rPr lang="de-CH" dirty="0" err="1"/>
              <a:t>regression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Model </a:t>
            </a:r>
            <a:r>
              <a:rPr lang="de-CH" dirty="0" err="1"/>
              <a:t>based</a:t>
            </a:r>
            <a:r>
              <a:rPr lang="de-CH" dirty="0"/>
              <a:t> off an S-</a:t>
            </a:r>
            <a:r>
              <a:rPr lang="de-CH" dirty="0" err="1"/>
              <a:t>curved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Prediction</a:t>
            </a:r>
            <a:r>
              <a:rPr lang="de-CH" dirty="0"/>
              <a:t> </a:t>
            </a:r>
            <a:r>
              <a:rPr lang="de-CH" dirty="0" err="1"/>
              <a:t>line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r>
              <a:rPr lang="de-CH" dirty="0"/>
              <a:t>The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swap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predictions</a:t>
            </a:r>
            <a:r>
              <a:rPr lang="de-CH" dirty="0"/>
              <a:t> </a:t>
            </a:r>
            <a:r>
              <a:rPr lang="de-CH" dirty="0" err="1"/>
              <a:t>based</a:t>
            </a:r>
            <a:r>
              <a:rPr lang="de-CH" dirty="0"/>
              <a:t> off a </a:t>
            </a:r>
            <a:r>
              <a:rPr lang="de-CH" dirty="0" err="1"/>
              <a:t>threshold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value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endParaRPr lang="de-CH" dirty="0"/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7</a:t>
            </a:fld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4FC3ED-4B73-4FFC-9DF4-A8232CC24A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965" y="1870075"/>
            <a:ext cx="5243466" cy="334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722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K-</a:t>
            </a:r>
            <a:r>
              <a:rPr lang="de-CH" dirty="0" err="1"/>
              <a:t>Nearest</a:t>
            </a:r>
            <a:r>
              <a:rPr lang="de-CH" dirty="0"/>
              <a:t> </a:t>
            </a:r>
            <a:r>
              <a:rPr lang="de-CH" dirty="0" err="1"/>
              <a:t>Neighbour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K-</a:t>
            </a:r>
            <a:r>
              <a:rPr lang="de-CH" dirty="0" err="1"/>
              <a:t>Nearest</a:t>
            </a:r>
            <a:r>
              <a:rPr lang="de-CH" dirty="0"/>
              <a:t> </a:t>
            </a:r>
            <a:r>
              <a:rPr lang="de-CH" dirty="0" err="1"/>
              <a:t>Neighbours</a:t>
            </a:r>
            <a:r>
              <a:rPr lang="de-CH" dirty="0"/>
              <a:t>, </a:t>
            </a:r>
            <a:r>
              <a:rPr lang="de-CH" dirty="0" err="1"/>
              <a:t>wher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«K» stands for a </a:t>
            </a:r>
            <a:r>
              <a:rPr lang="de-CH" dirty="0" err="1"/>
              <a:t>number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r>
              <a:rPr lang="de-CH" dirty="0" err="1"/>
              <a:t>Calculat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athematical</a:t>
            </a:r>
            <a:r>
              <a:rPr lang="de-CH" dirty="0"/>
              <a:t> 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distance</a:t>
            </a:r>
            <a:r>
              <a:rPr lang="de-CH" dirty="0"/>
              <a:t> t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known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points</a:t>
            </a:r>
            <a:r>
              <a:rPr lang="de-CH" dirty="0"/>
              <a:t>,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assig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data</a:t>
            </a:r>
            <a:r>
              <a:rPr lang="de-CH" dirty="0"/>
              <a:t> </a:t>
            </a:r>
            <a:r>
              <a:rPr lang="de-CH" dirty="0" err="1"/>
              <a:t>point</a:t>
            </a:r>
            <a:r>
              <a:rPr lang="de-CH" dirty="0"/>
              <a:t> to</a:t>
            </a:r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losest</a:t>
            </a:r>
            <a:r>
              <a:rPr lang="de-CH" dirty="0"/>
              <a:t> </a:t>
            </a:r>
            <a:r>
              <a:rPr lang="de-CH" dirty="0" err="1"/>
              <a:t>class</a:t>
            </a:r>
            <a:endParaRPr lang="de-CH" dirty="0"/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8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F21457F-30D7-4C74-9AD5-3F8DA13FA3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353" y="1690688"/>
            <a:ext cx="4539491" cy="387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2653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odels: Random Forr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Build</a:t>
            </a:r>
            <a:r>
              <a:rPr lang="de-CH" dirty="0"/>
              <a:t> different </a:t>
            </a:r>
            <a:r>
              <a:rPr lang="de-CH" dirty="0" err="1"/>
              <a:t>decision</a:t>
            </a:r>
            <a:r>
              <a:rPr lang="de-CH" dirty="0"/>
              <a:t> </a:t>
            </a:r>
            <a:r>
              <a:rPr lang="de-CH" dirty="0" err="1"/>
              <a:t>trees</a:t>
            </a:r>
            <a:endParaRPr lang="de-CH" dirty="0"/>
          </a:p>
          <a:p>
            <a:endParaRPr lang="de-CH" dirty="0"/>
          </a:p>
          <a:p>
            <a:r>
              <a:rPr lang="de-CH" dirty="0" err="1"/>
              <a:t>L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trees</a:t>
            </a:r>
            <a:r>
              <a:rPr lang="de-CH" dirty="0"/>
              <a:t> vote, </a:t>
            </a:r>
            <a:r>
              <a:rPr lang="de-CH" dirty="0" err="1"/>
              <a:t>then</a:t>
            </a:r>
            <a:r>
              <a:rPr lang="de-CH" dirty="0"/>
              <a:t> </a:t>
            </a:r>
            <a:r>
              <a:rPr lang="de-CH" dirty="0" err="1"/>
              <a:t>tak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ajority</a:t>
            </a:r>
            <a:r>
              <a:rPr lang="de-CH" dirty="0"/>
              <a:t> of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votes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the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  </a:t>
            </a:r>
            <a:r>
              <a:rPr lang="de-CH" dirty="0" err="1"/>
              <a:t>prediction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21C2566-5CDC-4D2A-A388-786FC0B6A2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438" y="1870075"/>
            <a:ext cx="5294243" cy="3361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480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mqgaV.RAioQCkQjQG1JQ"/>
</p:tagLst>
</file>

<file path=ppt/theme/theme1.xml><?xml version="1.0" encoding="utf-8"?>
<a:theme xmlns:a="http://schemas.openxmlformats.org/drawingml/2006/main" name="DSTC">
  <a:themeElements>
    <a:clrScheme name="Benutzerdefiniert 17">
      <a:dk1>
        <a:srgbClr val="000003"/>
      </a:dk1>
      <a:lt1>
        <a:sysClr val="window" lastClr="FFFFFF"/>
      </a:lt1>
      <a:dk2>
        <a:srgbClr val="194F5C"/>
      </a:dk2>
      <a:lt2>
        <a:srgbClr val="30B1CB"/>
      </a:lt2>
      <a:accent1>
        <a:srgbClr val="169BC1"/>
      </a:accent1>
      <a:accent2>
        <a:srgbClr val="43C7EE"/>
      </a:accent2>
      <a:accent3>
        <a:srgbClr val="194F5C"/>
      </a:accent3>
      <a:accent4>
        <a:srgbClr val="6297A5"/>
      </a:accent4>
      <a:accent5>
        <a:srgbClr val="00CC99"/>
      </a:accent5>
      <a:accent6>
        <a:srgbClr val="6600CC"/>
      </a:accent6>
      <a:hlink>
        <a:srgbClr val="000000"/>
      </a:hlink>
      <a:folHlink>
        <a:srgbClr val="034A90"/>
      </a:folHlink>
    </a:clrScheme>
    <a:fontScheme name="Benutzerdefiniert 3">
      <a:majorFont>
        <a:latin typeface="Open Sans Semi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6452eb6-52ca-4247-83fe-2c696568c3fa">
      <Terms xmlns="http://schemas.microsoft.com/office/infopath/2007/PartnerControls"/>
    </lcf76f155ced4ddcb4097134ff3c332f>
    <TaxCatchAll xmlns="da218ba1-e80d-4204-a8c8-4339295b2662" xsi:nil="true"/>
    <SharedWithUsers xmlns="da218ba1-e80d-4204-a8c8-4339295b2662">
      <UserInfo>
        <DisplayName>Mitglieder von STUD-DSTC</DisplayName>
        <AccountId>7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8266ECEBCD4443AE2396AF8F99250B" ma:contentTypeVersion="16" ma:contentTypeDescription="Create a new document." ma:contentTypeScope="" ma:versionID="4e93396b33d4eb0370e1635930f5bddd">
  <xsd:schema xmlns:xsd="http://www.w3.org/2001/XMLSchema" xmlns:xs="http://www.w3.org/2001/XMLSchema" xmlns:p="http://schemas.microsoft.com/office/2006/metadata/properties" xmlns:ns2="66452eb6-52ca-4247-83fe-2c696568c3fa" xmlns:ns3="da218ba1-e80d-4204-a8c8-4339295b2662" targetNamespace="http://schemas.microsoft.com/office/2006/metadata/properties" ma:root="true" ma:fieldsID="47e8a347c932bb8f7c9d04faf084f8cf" ns2:_="" ns3:_="">
    <xsd:import namespace="66452eb6-52ca-4247-83fe-2c696568c3fa"/>
    <xsd:import namespace="da218ba1-e80d-4204-a8c8-4339295b26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452eb6-52ca-4247-83fe-2c696568c3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218ba1-e80d-4204-a8c8-4339295b2662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056fc98-3a8e-4087-aeac-f8ad103d3734}" ma:internalName="TaxCatchAll" ma:showField="CatchAllData" ma:web="da218ba1-e80d-4204-a8c8-4339295b26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56D83B0-8114-47E7-830E-BAB956E02D02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da218ba1-e80d-4204-a8c8-4339295b2662"/>
    <ds:schemaRef ds:uri="66452eb6-52ca-4247-83fe-2c696568c3f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AE715B5-8267-4695-9259-F490EF3ADA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452eb6-52ca-4247-83fe-2c696568c3fa"/>
    <ds:schemaRef ds:uri="da218ba1-e80d-4204-a8c8-4339295b26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5CAFB3-BC69-4098-B705-2CB560DB48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5</Words>
  <Application>Microsoft Office PowerPoint</Application>
  <PresentationFormat>Breitbild</PresentationFormat>
  <Paragraphs>106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0" baseType="lpstr">
      <vt:lpstr>Arial</vt:lpstr>
      <vt:lpstr>Calibri</vt:lpstr>
      <vt:lpstr>Lufthansa Office Head</vt:lpstr>
      <vt:lpstr>Trebuchet MS</vt:lpstr>
      <vt:lpstr>Wingdings</vt:lpstr>
      <vt:lpstr>DSTC</vt:lpstr>
      <vt:lpstr>think-cell Folie</vt:lpstr>
      <vt:lpstr>Prediction Machines Workshop</vt:lpstr>
      <vt:lpstr>Agenda</vt:lpstr>
      <vt:lpstr>Welcome </vt:lpstr>
      <vt:lpstr>Data</vt:lpstr>
      <vt:lpstr>Data</vt:lpstr>
      <vt:lpstr>Models</vt:lpstr>
      <vt:lpstr>Models: Logistic regression</vt:lpstr>
      <vt:lpstr>Models: K-Nearest Neighbours</vt:lpstr>
      <vt:lpstr>Models: Random Forrest</vt:lpstr>
      <vt:lpstr>Models: Random Forrest</vt:lpstr>
      <vt:lpstr>Models: Support Vector Machines</vt:lpstr>
      <vt:lpstr>Models: Support Vector Machines</vt:lpstr>
      <vt:lpstr>Implem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TC Kick-Off HS 2020</dc:title>
  <dc:creator>Wanja.Butz@student.unisg.ch;Elio.Hahn@student.unisg.ch</dc:creator>
  <cp:lastModifiedBy>Montani, David</cp:lastModifiedBy>
  <cp:revision>15</cp:revision>
  <dcterms:created xsi:type="dcterms:W3CDTF">2020-09-16T06:49:25Z</dcterms:created>
  <dcterms:modified xsi:type="dcterms:W3CDTF">2022-10-08T16:5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8266ECEBCD4443AE2396AF8F99250B</vt:lpwstr>
  </property>
</Properties>
</file>